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55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5</c:f>
              <c:numCache>
                <c:formatCode>m/d/yyyy</c:formatCode>
                <c:ptCount val="23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</c:numCache>
            </c:numRef>
          </c:cat>
          <c:val>
            <c:numRef>
              <c:f>Sheet1!$D$2:$D$235</c:f>
              <c:numCache>
                <c:formatCode>#,##0</c:formatCode>
                <c:ptCount val="234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4</c:v>
                </c:pt>
                <c:pt idx="138">
                  <c:v>590</c:v>
                </c:pt>
                <c:pt idx="139">
                  <c:v>588</c:v>
                </c:pt>
                <c:pt idx="140">
                  <c:v>578</c:v>
                </c:pt>
                <c:pt idx="141">
                  <c:v>560</c:v>
                </c:pt>
                <c:pt idx="142">
                  <c:v>554</c:v>
                </c:pt>
                <c:pt idx="143">
                  <c:v>539</c:v>
                </c:pt>
                <c:pt idx="144">
                  <c:v>536</c:v>
                </c:pt>
                <c:pt idx="145">
                  <c:v>539</c:v>
                </c:pt>
                <c:pt idx="146">
                  <c:v>539</c:v>
                </c:pt>
                <c:pt idx="147">
                  <c:v>548</c:v>
                </c:pt>
                <c:pt idx="148">
                  <c:v>548</c:v>
                </c:pt>
                <c:pt idx="149">
                  <c:v>544</c:v>
                </c:pt>
                <c:pt idx="150">
                  <c:v>515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29</c:v>
                </c:pt>
                <c:pt idx="178">
                  <c:v>721</c:v>
                </c:pt>
                <c:pt idx="179">
                  <c:v>714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6</c:v>
                </c:pt>
                <c:pt idx="185">
                  <c:v>841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9</c:v>
                </c:pt>
                <c:pt idx="190">
                  <c:v>917</c:v>
                </c:pt>
                <c:pt idx="191">
                  <c:v>918</c:v>
                </c:pt>
                <c:pt idx="192">
                  <c:v>928</c:v>
                </c:pt>
                <c:pt idx="193">
                  <c:v>911</c:v>
                </c:pt>
                <c:pt idx="194">
                  <c:v>937</c:v>
                </c:pt>
                <c:pt idx="195">
                  <c:v>942</c:v>
                </c:pt>
                <c:pt idx="196">
                  <c:v>927</c:v>
                </c:pt>
                <c:pt idx="197">
                  <c:v>926</c:v>
                </c:pt>
                <c:pt idx="198">
                  <c:v>953</c:v>
                </c:pt>
                <c:pt idx="199">
                  <c:v>945</c:v>
                </c:pt>
                <c:pt idx="200">
                  <c:v>940</c:v>
                </c:pt>
                <c:pt idx="201">
                  <c:v>935</c:v>
                </c:pt>
                <c:pt idx="202">
                  <c:v>974</c:v>
                </c:pt>
                <c:pt idx="203">
                  <c:v>933</c:v>
                </c:pt>
                <c:pt idx="204">
                  <c:v>925</c:v>
                </c:pt>
                <c:pt idx="205">
                  <c:v>913</c:v>
                </c:pt>
                <c:pt idx="206">
                  <c:v>915</c:v>
                </c:pt>
                <c:pt idx="207">
                  <c:v>881</c:v>
                </c:pt>
                <c:pt idx="208">
                  <c:v>866</c:v>
                </c:pt>
                <c:pt idx="209">
                  <c:v>870</c:v>
                </c:pt>
                <c:pt idx="210">
                  <c:v>844</c:v>
                </c:pt>
                <c:pt idx="211">
                  <c:v>816</c:v>
                </c:pt>
                <c:pt idx="212">
                  <c:v>795</c:v>
                </c:pt>
                <c:pt idx="213">
                  <c:v>766</c:v>
                </c:pt>
                <c:pt idx="214">
                  <c:v>729</c:v>
                </c:pt>
                <c:pt idx="215">
                  <c:v>718</c:v>
                </c:pt>
                <c:pt idx="216">
                  <c:v>715</c:v>
                </c:pt>
                <c:pt idx="217">
                  <c:v>738</c:v>
                </c:pt>
                <c:pt idx="218">
                  <c:v>714</c:v>
                </c:pt>
                <c:pt idx="219">
                  <c:v>681</c:v>
                </c:pt>
                <c:pt idx="220">
                  <c:v>640</c:v>
                </c:pt>
                <c:pt idx="221">
                  <c:v>617</c:v>
                </c:pt>
                <c:pt idx="222">
                  <c:v>618</c:v>
                </c:pt>
                <c:pt idx="223">
                  <c:v>608</c:v>
                </c:pt>
                <c:pt idx="224">
                  <c:v>587</c:v>
                </c:pt>
                <c:pt idx="225">
                  <c:v>553</c:v>
                </c:pt>
                <c:pt idx="226">
                  <c:v>534</c:v>
                </c:pt>
                <c:pt idx="227">
                  <c:v>527</c:v>
                </c:pt>
                <c:pt idx="228">
                  <c:v>499</c:v>
                </c:pt>
                <c:pt idx="229" formatCode="General">
                  <c:v>505</c:v>
                </c:pt>
                <c:pt idx="230" formatCode="General">
                  <c:v>503</c:v>
                </c:pt>
                <c:pt idx="231" formatCode="General">
                  <c:v>486</c:v>
                </c:pt>
                <c:pt idx="232" formatCode="General">
                  <c:v>471</c:v>
                </c:pt>
                <c:pt idx="233" formatCode="General">
                  <c:v>4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2951155278743182E-2"/>
                  <c:y val="-6.990422169258099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9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2B3-47F2-9BD6-517B264C61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5</c:f>
              <c:numCache>
                <c:formatCode>m/d/yyyy</c:formatCode>
                <c:ptCount val="23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</c:numCache>
            </c:numRef>
          </c:cat>
          <c:val>
            <c:numRef>
              <c:f>Sheet1!$B$2:$B$235</c:f>
              <c:numCache>
                <c:formatCode>#,##0</c:formatCode>
                <c:ptCount val="234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 formatCode="General">
                  <c:v>528</c:v>
                </c:pt>
                <c:pt idx="230" formatCode="General">
                  <c:v>552</c:v>
                </c:pt>
                <c:pt idx="231" formatCode="General">
                  <c:v>593</c:v>
                </c:pt>
                <c:pt idx="232" formatCode="General">
                  <c:v>554</c:v>
                </c:pt>
                <c:pt idx="233" formatCode="General">
                  <c:v>5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5</c:f>
              <c:numCache>
                <c:formatCode>m/d/yyyy</c:formatCode>
                <c:ptCount val="23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</c:numCache>
            </c:numRef>
          </c:cat>
          <c:val>
            <c:numRef>
              <c:f>Sheet1!$C$2:$C$235</c:f>
              <c:numCache>
                <c:formatCode>#,##0</c:formatCode>
                <c:ptCount val="23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5</c:f>
              <c:numCache>
                <c:formatCode>m/d/yyyy</c:formatCode>
                <c:ptCount val="23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</c:numCache>
            </c:numRef>
          </c:cat>
          <c:val>
            <c:numRef>
              <c:f>Sheet1!$D$2:$D$235</c:f>
              <c:numCache>
                <c:formatCode>#,##0</c:formatCode>
                <c:ptCount val="234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2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5</c:v>
                </c:pt>
                <c:pt idx="128">
                  <c:v>3078</c:v>
                </c:pt>
                <c:pt idx="129">
                  <c:v>2936</c:v>
                </c:pt>
                <c:pt idx="130">
                  <c:v>2967</c:v>
                </c:pt>
                <c:pt idx="131">
                  <c:v>2974</c:v>
                </c:pt>
                <c:pt idx="132">
                  <c:v>2978</c:v>
                </c:pt>
                <c:pt idx="133">
                  <c:v>3046</c:v>
                </c:pt>
                <c:pt idx="134">
                  <c:v>2967</c:v>
                </c:pt>
                <c:pt idx="135">
                  <c:v>2926</c:v>
                </c:pt>
                <c:pt idx="136">
                  <c:v>2874</c:v>
                </c:pt>
                <c:pt idx="137">
                  <c:v>2759</c:v>
                </c:pt>
                <c:pt idx="138">
                  <c:v>2746</c:v>
                </c:pt>
                <c:pt idx="139">
                  <c:v>2702</c:v>
                </c:pt>
                <c:pt idx="140">
                  <c:v>2640</c:v>
                </c:pt>
                <c:pt idx="141">
                  <c:v>2596</c:v>
                </c:pt>
                <c:pt idx="142">
                  <c:v>2589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5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8</c:v>
                </c:pt>
                <c:pt idx="158">
                  <c:v>2346</c:v>
                </c:pt>
                <c:pt idx="159">
                  <c:v>2410</c:v>
                </c:pt>
                <c:pt idx="160">
                  <c:v>2473</c:v>
                </c:pt>
                <c:pt idx="161">
                  <c:v>2490</c:v>
                </c:pt>
                <c:pt idx="162">
                  <c:v>2420</c:v>
                </c:pt>
                <c:pt idx="163">
                  <c:v>2454</c:v>
                </c:pt>
                <c:pt idx="164">
                  <c:v>2405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7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40</c:v>
                </c:pt>
                <c:pt idx="205">
                  <c:v>3470</c:v>
                </c:pt>
                <c:pt idx="206">
                  <c:v>3329</c:v>
                </c:pt>
                <c:pt idx="207">
                  <c:v>3354</c:v>
                </c:pt>
                <c:pt idx="208">
                  <c:v>3383</c:v>
                </c:pt>
                <c:pt idx="209">
                  <c:v>3354</c:v>
                </c:pt>
                <c:pt idx="210">
                  <c:v>3279</c:v>
                </c:pt>
                <c:pt idx="211">
                  <c:v>3144</c:v>
                </c:pt>
                <c:pt idx="212">
                  <c:v>2995</c:v>
                </c:pt>
                <c:pt idx="213">
                  <c:v>2812</c:v>
                </c:pt>
                <c:pt idx="214">
                  <c:v>2768</c:v>
                </c:pt>
                <c:pt idx="215">
                  <c:v>2829</c:v>
                </c:pt>
                <c:pt idx="216">
                  <c:v>2844</c:v>
                </c:pt>
                <c:pt idx="217">
                  <c:v>3044</c:v>
                </c:pt>
                <c:pt idx="218">
                  <c:v>2865</c:v>
                </c:pt>
                <c:pt idx="219">
                  <c:v>2689</c:v>
                </c:pt>
                <c:pt idx="220">
                  <c:v>2418</c:v>
                </c:pt>
                <c:pt idx="221">
                  <c:v>2327</c:v>
                </c:pt>
                <c:pt idx="222">
                  <c:v>2343</c:v>
                </c:pt>
                <c:pt idx="223">
                  <c:v>2333</c:v>
                </c:pt>
                <c:pt idx="224">
                  <c:v>2241</c:v>
                </c:pt>
                <c:pt idx="225">
                  <c:v>2112</c:v>
                </c:pt>
                <c:pt idx="226">
                  <c:v>1935</c:v>
                </c:pt>
                <c:pt idx="227">
                  <c:v>1790</c:v>
                </c:pt>
                <c:pt idx="228">
                  <c:v>1760</c:v>
                </c:pt>
                <c:pt idx="229">
                  <c:v>1772</c:v>
                </c:pt>
                <c:pt idx="230">
                  <c:v>1821</c:v>
                </c:pt>
                <c:pt idx="231">
                  <c:v>1712</c:v>
                </c:pt>
                <c:pt idx="232">
                  <c:v>1632</c:v>
                </c:pt>
                <c:pt idx="233">
                  <c:v>15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2878628343815882E-2"/>
                  <c:y val="-4.939628336282259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34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FAD9-41A5-9B24-319A654422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5</c:f>
              <c:numCache>
                <c:formatCode>m/d/yyyy</c:formatCode>
                <c:ptCount val="23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</c:numCache>
            </c:numRef>
          </c:cat>
          <c:val>
            <c:numRef>
              <c:f>Sheet1!$B$2:$B$235</c:f>
              <c:numCache>
                <c:formatCode>#,##0</c:formatCode>
                <c:ptCount val="234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5</c:f>
              <c:numCache>
                <c:formatCode>m/d/yyyy</c:formatCode>
                <c:ptCount val="23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</c:numCache>
            </c:numRef>
          </c:cat>
          <c:val>
            <c:numRef>
              <c:f>Sheet1!$C$2:$C$235</c:f>
              <c:numCache>
                <c:formatCode>#,##0</c:formatCode>
                <c:ptCount val="23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5</c:f>
              <c:numCache>
                <c:formatCode>m/d/yyyy</c:formatCode>
                <c:ptCount val="23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</c:numCache>
            </c:numRef>
          </c:cat>
          <c:val>
            <c:numRef>
              <c:f>Sheet1!$D$2:$D$235</c:f>
              <c:numCache>
                <c:formatCode>#,##0</c:formatCode>
                <c:ptCount val="23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3</c:v>
                </c:pt>
                <c:pt idx="205">
                  <c:v>26</c:v>
                </c:pt>
                <c:pt idx="206">
                  <c:v>29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6</c:v>
                </c:pt>
                <c:pt idx="226">
                  <c:v>17</c:v>
                </c:pt>
                <c:pt idx="227">
                  <c:v>18</c:v>
                </c:pt>
                <c:pt idx="228">
                  <c:v>18</c:v>
                </c:pt>
                <c:pt idx="229" formatCode="General">
                  <c:v>19</c:v>
                </c:pt>
                <c:pt idx="230" formatCode="General">
                  <c:v>21</c:v>
                </c:pt>
                <c:pt idx="231" formatCode="General">
                  <c:v>18</c:v>
                </c:pt>
                <c:pt idx="232" formatCode="General">
                  <c:v>20</c:v>
                </c:pt>
                <c:pt idx="233" formatCode="General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0886804832506937E-2"/>
                  <c:y val="-3.592456971841647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3C7C-46FD-AC56-781B4A4EF2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5</c:f>
              <c:numCache>
                <c:formatCode>m/d/yyyy</c:formatCode>
                <c:ptCount val="23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</c:numCache>
            </c:numRef>
          </c:cat>
          <c:val>
            <c:numRef>
              <c:f>Sheet1!$B$2:$B$235</c:f>
              <c:numCache>
                <c:formatCode>#,##0</c:formatCode>
                <c:ptCount val="234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 formatCode="General">
                  <c:v>46</c:v>
                </c:pt>
                <c:pt idx="230" formatCode="General">
                  <c:v>42</c:v>
                </c:pt>
                <c:pt idx="231" formatCode="General">
                  <c:v>42</c:v>
                </c:pt>
                <c:pt idx="232" formatCode="General">
                  <c:v>41</c:v>
                </c:pt>
                <c:pt idx="233" formatCode="General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5</c:f>
              <c:numCache>
                <c:formatCode>m/d/yyyy</c:formatCode>
                <c:ptCount val="23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</c:numCache>
            </c:numRef>
          </c:cat>
          <c:val>
            <c:numRef>
              <c:f>Sheet1!$C$2:$C$235</c:f>
              <c:numCache>
                <c:formatCode>#,##0</c:formatCode>
                <c:ptCount val="23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5</c:f>
              <c:numCache>
                <c:formatCode>m/d/yyyy</c:formatCode>
                <c:ptCount val="23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</c:numCache>
            </c:numRef>
          </c:cat>
          <c:val>
            <c:numRef>
              <c:f>Sheet1!$D$2:$D$235</c:f>
              <c:numCache>
                <c:formatCode>#,##0</c:formatCode>
                <c:ptCount val="234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8</c:v>
                </c:pt>
                <c:pt idx="138">
                  <c:v>1129</c:v>
                </c:pt>
                <c:pt idx="139">
                  <c:v>1154</c:v>
                </c:pt>
                <c:pt idx="140">
                  <c:v>1135</c:v>
                </c:pt>
                <c:pt idx="141">
                  <c:v>1111</c:v>
                </c:pt>
                <c:pt idx="142">
                  <c:v>1105</c:v>
                </c:pt>
                <c:pt idx="143">
                  <c:v>1109</c:v>
                </c:pt>
                <c:pt idx="144">
                  <c:v>1091</c:v>
                </c:pt>
                <c:pt idx="145">
                  <c:v>1057</c:v>
                </c:pt>
                <c:pt idx="146">
                  <c:v>1079</c:v>
                </c:pt>
                <c:pt idx="147">
                  <c:v>1046</c:v>
                </c:pt>
                <c:pt idx="148">
                  <c:v>1037</c:v>
                </c:pt>
                <c:pt idx="149">
                  <c:v>1018</c:v>
                </c:pt>
                <c:pt idx="150">
                  <c:v>1018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3</c:v>
                </c:pt>
                <c:pt idx="157">
                  <c:v>1089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3</c:v>
                </c:pt>
                <c:pt idx="178">
                  <c:v>1438</c:v>
                </c:pt>
                <c:pt idx="179">
                  <c:v>1465</c:v>
                </c:pt>
                <c:pt idx="180">
                  <c:v>1502</c:v>
                </c:pt>
                <c:pt idx="181">
                  <c:v>1585</c:v>
                </c:pt>
                <c:pt idx="182">
                  <c:v>1597</c:v>
                </c:pt>
                <c:pt idx="183">
                  <c:v>1624</c:v>
                </c:pt>
                <c:pt idx="184">
                  <c:v>1650</c:v>
                </c:pt>
                <c:pt idx="185">
                  <c:v>1670</c:v>
                </c:pt>
                <c:pt idx="186">
                  <c:v>1674</c:v>
                </c:pt>
                <c:pt idx="187">
                  <c:v>1676</c:v>
                </c:pt>
                <c:pt idx="188">
                  <c:v>1772</c:v>
                </c:pt>
                <c:pt idx="189">
                  <c:v>1802</c:v>
                </c:pt>
                <c:pt idx="190">
                  <c:v>1832</c:v>
                </c:pt>
                <c:pt idx="191">
                  <c:v>1821</c:v>
                </c:pt>
                <c:pt idx="192">
                  <c:v>1833</c:v>
                </c:pt>
                <c:pt idx="193">
                  <c:v>1781</c:v>
                </c:pt>
                <c:pt idx="194">
                  <c:v>1828</c:v>
                </c:pt>
                <c:pt idx="195">
                  <c:v>1885</c:v>
                </c:pt>
                <c:pt idx="196">
                  <c:v>1892</c:v>
                </c:pt>
                <c:pt idx="197">
                  <c:v>1861</c:v>
                </c:pt>
                <c:pt idx="198">
                  <c:v>1861</c:v>
                </c:pt>
                <c:pt idx="199">
                  <c:v>1821</c:v>
                </c:pt>
                <c:pt idx="200">
                  <c:v>1782</c:v>
                </c:pt>
                <c:pt idx="201">
                  <c:v>1806</c:v>
                </c:pt>
                <c:pt idx="202">
                  <c:v>1826</c:v>
                </c:pt>
                <c:pt idx="203">
                  <c:v>1778</c:v>
                </c:pt>
                <c:pt idx="204">
                  <c:v>1747</c:v>
                </c:pt>
                <c:pt idx="205">
                  <c:v>1745</c:v>
                </c:pt>
                <c:pt idx="206">
                  <c:v>1683</c:v>
                </c:pt>
                <c:pt idx="207">
                  <c:v>1647</c:v>
                </c:pt>
                <c:pt idx="208">
                  <c:v>1657</c:v>
                </c:pt>
                <c:pt idx="209">
                  <c:v>1667</c:v>
                </c:pt>
                <c:pt idx="210">
                  <c:v>1618</c:v>
                </c:pt>
                <c:pt idx="211">
                  <c:v>1559</c:v>
                </c:pt>
                <c:pt idx="212">
                  <c:v>1512</c:v>
                </c:pt>
                <c:pt idx="213">
                  <c:v>1428</c:v>
                </c:pt>
                <c:pt idx="214">
                  <c:v>1403</c:v>
                </c:pt>
                <c:pt idx="215">
                  <c:v>1383</c:v>
                </c:pt>
                <c:pt idx="216">
                  <c:v>1352</c:v>
                </c:pt>
                <c:pt idx="217">
                  <c:v>1404</c:v>
                </c:pt>
                <c:pt idx="218">
                  <c:v>1373</c:v>
                </c:pt>
                <c:pt idx="219">
                  <c:v>1328</c:v>
                </c:pt>
                <c:pt idx="220">
                  <c:v>1249</c:v>
                </c:pt>
                <c:pt idx="221">
                  <c:v>1233</c:v>
                </c:pt>
                <c:pt idx="222">
                  <c:v>1216</c:v>
                </c:pt>
                <c:pt idx="223">
                  <c:v>1203</c:v>
                </c:pt>
                <c:pt idx="224">
                  <c:v>1177</c:v>
                </c:pt>
                <c:pt idx="225">
                  <c:v>1133</c:v>
                </c:pt>
                <c:pt idx="226">
                  <c:v>1054</c:v>
                </c:pt>
                <c:pt idx="227">
                  <c:v>1032</c:v>
                </c:pt>
                <c:pt idx="228">
                  <c:v>991</c:v>
                </c:pt>
                <c:pt idx="229" formatCode="General">
                  <c:v>995</c:v>
                </c:pt>
                <c:pt idx="230">
                  <c:v>1012</c:v>
                </c:pt>
                <c:pt idx="231" formatCode="General">
                  <c:v>958</c:v>
                </c:pt>
                <c:pt idx="232" formatCode="General">
                  <c:v>920</c:v>
                </c:pt>
                <c:pt idx="233" formatCode="General">
                  <c:v>8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D56A-4EBF-8935-6E1D9BB68909}"/>
                </c:ext>
              </c:extLst>
            </c:dLbl>
            <c:dLbl>
              <c:idx val="20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56A-4EBF-8935-6E1D9BB68909}"/>
                </c:ext>
              </c:extLst>
            </c:dLbl>
            <c:dLbl>
              <c:idx val="228"/>
              <c:layout>
                <c:manualLayout>
                  <c:x val="-3.0219362317067216E-2"/>
                  <c:y val="-8.778390262694020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51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56A-4EBF-8935-6E1D9BB689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5</c:f>
              <c:numCache>
                <c:formatCode>m/d/yyyy</c:formatCode>
                <c:ptCount val="23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</c:numCache>
            </c:numRef>
          </c:cat>
          <c:val>
            <c:numRef>
              <c:f>Sheet1!$B$2:$B$235</c:f>
              <c:numCache>
                <c:formatCode>#,##0</c:formatCode>
                <c:ptCount val="234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5</c:f>
              <c:numCache>
                <c:formatCode>m/d/yyyy</c:formatCode>
                <c:ptCount val="23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</c:numCache>
            </c:numRef>
          </c:cat>
          <c:val>
            <c:numRef>
              <c:f>Sheet1!$C$2:$C$235</c:f>
              <c:numCache>
                <c:formatCode>#,##0</c:formatCode>
                <c:ptCount val="23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3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3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3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74746958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90172276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99450094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90822604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68428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291310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53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Žofka Jan Mgr. Ing.</cp:lastModifiedBy>
  <cp:revision>618</cp:revision>
  <dcterms:created xsi:type="dcterms:W3CDTF">2020-08-08T14:25:07Z</dcterms:created>
  <dcterms:modified xsi:type="dcterms:W3CDTF">2021-04-23T03:40:58Z</dcterms:modified>
</cp:coreProperties>
</file>